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sldIdLst>
    <p:sldId id="256" r:id="rId2"/>
  </p:sldIdLst>
  <p:sldSz cx="13442950" cy="7561263"/>
  <p:notesSz cx="6858000" cy="9144000"/>
  <p:defaultTextStyle>
    <a:defPPr>
      <a:defRPr lang="en-US"/>
    </a:defPPr>
    <a:lvl1pPr marL="0" algn="l" defTabSz="1008126" rtl="0" eaLnBrk="1" latinLnBrk="0" hangingPunct="1">
      <a:defRPr sz="1985" kern="1200">
        <a:solidFill>
          <a:schemeClr val="tx1"/>
        </a:solidFill>
        <a:latin typeface="+mn-lt"/>
        <a:ea typeface="+mn-ea"/>
        <a:cs typeface="+mn-cs"/>
      </a:defRPr>
    </a:lvl1pPr>
    <a:lvl2pPr marL="504063" algn="l" defTabSz="1008126" rtl="0" eaLnBrk="1" latinLnBrk="0" hangingPunct="1">
      <a:defRPr sz="1985" kern="1200">
        <a:solidFill>
          <a:schemeClr val="tx1"/>
        </a:solidFill>
        <a:latin typeface="+mn-lt"/>
        <a:ea typeface="+mn-ea"/>
        <a:cs typeface="+mn-cs"/>
      </a:defRPr>
    </a:lvl2pPr>
    <a:lvl3pPr marL="1008126" algn="l" defTabSz="1008126" rtl="0" eaLnBrk="1" latinLnBrk="0" hangingPunct="1">
      <a:defRPr sz="1985" kern="1200">
        <a:solidFill>
          <a:schemeClr val="tx1"/>
        </a:solidFill>
        <a:latin typeface="+mn-lt"/>
        <a:ea typeface="+mn-ea"/>
        <a:cs typeface="+mn-cs"/>
      </a:defRPr>
    </a:lvl3pPr>
    <a:lvl4pPr marL="1512189" algn="l" defTabSz="1008126" rtl="0" eaLnBrk="1" latinLnBrk="0" hangingPunct="1">
      <a:defRPr sz="1985" kern="1200">
        <a:solidFill>
          <a:schemeClr val="tx1"/>
        </a:solidFill>
        <a:latin typeface="+mn-lt"/>
        <a:ea typeface="+mn-ea"/>
        <a:cs typeface="+mn-cs"/>
      </a:defRPr>
    </a:lvl4pPr>
    <a:lvl5pPr marL="2016252" algn="l" defTabSz="1008126" rtl="0" eaLnBrk="1" latinLnBrk="0" hangingPunct="1">
      <a:defRPr sz="1985" kern="1200">
        <a:solidFill>
          <a:schemeClr val="tx1"/>
        </a:solidFill>
        <a:latin typeface="+mn-lt"/>
        <a:ea typeface="+mn-ea"/>
        <a:cs typeface="+mn-cs"/>
      </a:defRPr>
    </a:lvl5pPr>
    <a:lvl6pPr marL="2520315" algn="l" defTabSz="1008126" rtl="0" eaLnBrk="1" latinLnBrk="0" hangingPunct="1">
      <a:defRPr sz="1985" kern="1200">
        <a:solidFill>
          <a:schemeClr val="tx1"/>
        </a:solidFill>
        <a:latin typeface="+mn-lt"/>
        <a:ea typeface="+mn-ea"/>
        <a:cs typeface="+mn-cs"/>
      </a:defRPr>
    </a:lvl6pPr>
    <a:lvl7pPr marL="3024378" algn="l" defTabSz="1008126" rtl="0" eaLnBrk="1" latinLnBrk="0" hangingPunct="1">
      <a:defRPr sz="1985" kern="1200">
        <a:solidFill>
          <a:schemeClr val="tx1"/>
        </a:solidFill>
        <a:latin typeface="+mn-lt"/>
        <a:ea typeface="+mn-ea"/>
        <a:cs typeface="+mn-cs"/>
      </a:defRPr>
    </a:lvl7pPr>
    <a:lvl8pPr marL="3528441" algn="l" defTabSz="1008126" rtl="0" eaLnBrk="1" latinLnBrk="0" hangingPunct="1">
      <a:defRPr sz="1985" kern="1200">
        <a:solidFill>
          <a:schemeClr val="tx1"/>
        </a:solidFill>
        <a:latin typeface="+mn-lt"/>
        <a:ea typeface="+mn-ea"/>
        <a:cs typeface="+mn-cs"/>
      </a:defRPr>
    </a:lvl8pPr>
    <a:lvl9pPr marL="4032504" algn="l" defTabSz="1008126" rtl="0" eaLnBrk="1" latinLnBrk="0" hangingPunct="1">
      <a:defRPr sz="1985"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gridSpacing cx="72008" cy="72008"/>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5303532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26"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546171401"/>
      </p:ext>
    </p:extLst>
  </p:cSld>
  <p:clrMap bg1="lt1" tx1="dk1" bg2="lt2" tx2="dk2" accent1="accent1" accent2="accent2" accent3="accent3" accent4="accent4" accent5="accent5" accent6="accent6" hlink="hlink" folHlink="folHlink"/>
  <p:sldLayoutIdLst>
    <p:sldLayoutId id="2147483649"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hyperlink" Target="https://www.youtube.com/watch?v=KlfUbZJVInA" TargetMode="External"/><Relationship Id="rId1" Type="http://schemas.openxmlformats.org/officeDocument/2006/relationships/slideLayout" Target="../slideLayouts/slideLayout1.xml"/><Relationship Id="rId4" Type="http://schemas.openxmlformats.org/officeDocument/2006/relationships/hyperlink" Target="https://www.dcm.co.uk/planner"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hlinkClick r:id="rId2"/>
            <a:extLst>
              <a:ext uri="{FF2B5EF4-FFF2-40B4-BE49-F238E27FC236}">
                <a16:creationId xmlns:a16="http://schemas.microsoft.com/office/drawing/2014/main" id="{6F3475B1-CDEE-4926-ADA6-422E0071537C}"/>
              </a:ext>
            </a:extLst>
          </p:cNvPr>
          <p:cNvPicPr>
            <a:picLocks noGrp="1" noChangeAspect="1"/>
          </p:cNvPicPr>
          <p:nvPr>
            <p:ph type="pic" sz="quarter" idx="18"/>
          </p:nvPr>
        </p:nvPicPr>
        <p:blipFill>
          <a:blip r:embed="rId3">
            <a:extLst>
              <a:ext uri="{28A0092B-C50C-407E-A947-70E740481C1C}">
                <a14:useLocalDpi xmlns:a14="http://schemas.microsoft.com/office/drawing/2010/main" val="0"/>
              </a:ext>
            </a:extLst>
          </a:blip>
          <a:srcRect l="16194" r="16194"/>
          <a:stretch>
            <a:fillRect/>
          </a:stretch>
        </p:blipFill>
        <p:spPr/>
      </p:pic>
      <p:sp>
        <p:nvSpPr>
          <p:cNvPr id="10" name="Text Placeholder 6"/>
          <p:cNvSpPr>
            <a:spLocks noGrp="1"/>
          </p:cNvSpPr>
          <p:nvPr>
            <p:ph type="body" sz="quarter" idx="16"/>
          </p:nvPr>
        </p:nvSpPr>
        <p:spPr bwMode="gray">
          <a:xfrm>
            <a:off x="269874" y="1371599"/>
            <a:ext cx="6347493" cy="5147555"/>
          </a:xfrm>
        </p:spPr>
        <p:txBody>
          <a:bodyPr/>
          <a:lstStyle/>
          <a:p>
            <a:pPr>
              <a:lnSpc>
                <a:spcPct val="100000"/>
              </a:lnSpc>
            </a:pPr>
            <a:r>
              <a:rPr lang="en-US" dirty="0"/>
              <a:t>Release Date</a:t>
            </a:r>
          </a:p>
          <a:p>
            <a:pPr>
              <a:lnSpc>
                <a:spcPct val="100000"/>
              </a:lnSpc>
            </a:pPr>
            <a:r>
              <a:rPr lang="en-US" dirty="0">
                <a:solidFill>
                  <a:schemeClr val="accent6"/>
                </a:solidFill>
              </a:rPr>
              <a:t>16 July 2021</a:t>
            </a:r>
          </a:p>
          <a:p>
            <a:pPr>
              <a:lnSpc>
                <a:spcPct val="100000"/>
              </a:lnSpc>
            </a:pPr>
            <a:endParaRPr lang="en-US" dirty="0">
              <a:solidFill>
                <a:schemeClr val="accent6"/>
              </a:solidFill>
            </a:endParaRPr>
          </a:p>
          <a:p>
            <a:pPr>
              <a:lnSpc>
                <a:spcPct val="100000"/>
              </a:lnSpc>
            </a:pPr>
            <a:r>
              <a:rPr lang="en-US" dirty="0"/>
              <a:t>Cast </a:t>
            </a:r>
          </a:p>
          <a:p>
            <a:pPr>
              <a:lnSpc>
                <a:spcPct val="100000"/>
              </a:lnSpc>
            </a:pPr>
            <a:r>
              <a:rPr lang="en-US" dirty="0">
                <a:solidFill>
                  <a:schemeClr val="accent6"/>
                </a:solidFill>
              </a:rPr>
              <a:t>Taylor Russell, Logan Miller, Isabelle Fuhrman</a:t>
            </a:r>
          </a:p>
          <a:p>
            <a:pPr>
              <a:lnSpc>
                <a:spcPct val="100000"/>
              </a:lnSpc>
            </a:pPr>
            <a:endParaRPr lang="en-US" dirty="0">
              <a:solidFill>
                <a:schemeClr val="accent6"/>
              </a:solidFill>
            </a:endParaRPr>
          </a:p>
          <a:p>
            <a:pPr>
              <a:lnSpc>
                <a:spcPct val="100000"/>
              </a:lnSpc>
            </a:pPr>
            <a:r>
              <a:rPr lang="en-US" dirty="0"/>
              <a:t>Director</a:t>
            </a:r>
          </a:p>
          <a:p>
            <a:pPr>
              <a:lnSpc>
                <a:spcPct val="100000"/>
              </a:lnSpc>
            </a:pPr>
            <a:r>
              <a:rPr lang="en-US" dirty="0">
                <a:solidFill>
                  <a:schemeClr val="accent6"/>
                </a:solidFill>
              </a:rPr>
              <a:t>Adam </a:t>
            </a:r>
            <a:r>
              <a:rPr lang="en-US" dirty="0" err="1">
                <a:solidFill>
                  <a:schemeClr val="accent6"/>
                </a:solidFill>
              </a:rPr>
              <a:t>Robitel</a:t>
            </a:r>
            <a:r>
              <a:rPr lang="en-US" dirty="0">
                <a:solidFill>
                  <a:schemeClr val="accent6"/>
                </a:solidFill>
              </a:rPr>
              <a:t> (</a:t>
            </a:r>
            <a:r>
              <a:rPr lang="en-US" i="1" dirty="0">
                <a:solidFill>
                  <a:schemeClr val="accent6"/>
                </a:solidFill>
              </a:rPr>
              <a:t>Escape Room, Insidious: The Last Key</a:t>
            </a:r>
            <a:r>
              <a:rPr lang="en-US" dirty="0">
                <a:solidFill>
                  <a:schemeClr val="accent6"/>
                </a:solidFill>
              </a:rPr>
              <a:t>)</a:t>
            </a:r>
          </a:p>
          <a:p>
            <a:pPr>
              <a:lnSpc>
                <a:spcPct val="100000"/>
              </a:lnSpc>
            </a:pPr>
            <a:endParaRPr lang="en-US" dirty="0">
              <a:solidFill>
                <a:schemeClr val="accent6"/>
              </a:solidFill>
            </a:endParaRPr>
          </a:p>
          <a:p>
            <a:pPr>
              <a:lnSpc>
                <a:spcPct val="100000"/>
              </a:lnSpc>
            </a:pPr>
            <a:r>
              <a:rPr lang="en-US" dirty="0"/>
              <a:t>Recommended if you like</a:t>
            </a:r>
          </a:p>
          <a:p>
            <a:pPr>
              <a:lnSpc>
                <a:spcPct val="100000"/>
              </a:lnSpc>
            </a:pPr>
            <a:r>
              <a:rPr lang="en-US" i="1" dirty="0">
                <a:solidFill>
                  <a:schemeClr val="accent6"/>
                </a:solidFill>
              </a:rPr>
              <a:t>Escape Room</a:t>
            </a:r>
          </a:p>
          <a:p>
            <a:pPr>
              <a:lnSpc>
                <a:spcPct val="100000"/>
              </a:lnSpc>
            </a:pPr>
            <a:endParaRPr lang="en-US" dirty="0">
              <a:solidFill>
                <a:schemeClr val="accent6"/>
              </a:solidFill>
            </a:endParaRPr>
          </a:p>
          <a:p>
            <a:pPr>
              <a:lnSpc>
                <a:spcPct val="100000"/>
              </a:lnSpc>
            </a:pPr>
            <a:r>
              <a:rPr lang="en-US" dirty="0"/>
              <a:t>Reasons to buy into </a:t>
            </a:r>
          </a:p>
          <a:p>
            <a:pPr>
              <a:lnSpc>
                <a:spcPct val="100000"/>
              </a:lnSpc>
            </a:pPr>
            <a:r>
              <a:rPr lang="en-US" dirty="0">
                <a:solidFill>
                  <a:schemeClr val="accent6"/>
                </a:solidFill>
              </a:rPr>
              <a:t>The first film was a respectable hit, taking $155 million worldwide, and director Adam </a:t>
            </a:r>
            <a:r>
              <a:rPr lang="en-US" dirty="0" err="1">
                <a:solidFill>
                  <a:schemeClr val="accent6"/>
                </a:solidFill>
              </a:rPr>
              <a:t>Robitel</a:t>
            </a:r>
            <a:r>
              <a:rPr lang="en-US" dirty="0">
                <a:solidFill>
                  <a:schemeClr val="accent6"/>
                </a:solidFill>
              </a:rPr>
              <a:t> has a history of successful horror franchise films under his belt.</a:t>
            </a:r>
          </a:p>
          <a:p>
            <a:pPr>
              <a:lnSpc>
                <a:spcPct val="100000"/>
              </a:lnSpc>
            </a:pPr>
            <a:endParaRPr lang="en-US" dirty="0">
              <a:solidFill>
                <a:schemeClr val="accent6"/>
              </a:solidFill>
            </a:endParaRPr>
          </a:p>
          <a:p>
            <a:pPr>
              <a:lnSpc>
                <a:spcPct val="100000"/>
              </a:lnSpc>
            </a:pPr>
            <a:r>
              <a:rPr lang="en-US" dirty="0"/>
              <a:t>Key audience info</a:t>
            </a:r>
          </a:p>
          <a:p>
            <a:pPr>
              <a:lnSpc>
                <a:spcPct val="100000"/>
              </a:lnSpc>
            </a:pPr>
            <a:r>
              <a:rPr lang="en-US" dirty="0">
                <a:solidFill>
                  <a:schemeClr val="accent6"/>
                </a:solidFill>
              </a:rPr>
              <a:t>16-34 Adults Index: 278</a:t>
            </a:r>
          </a:p>
          <a:p>
            <a:pPr>
              <a:lnSpc>
                <a:spcPct val="100000"/>
              </a:lnSpc>
            </a:pPr>
            <a:endParaRPr lang="en-US" dirty="0">
              <a:solidFill>
                <a:schemeClr val="accent6"/>
              </a:solidFill>
            </a:endParaRPr>
          </a:p>
          <a:p>
            <a:pPr>
              <a:lnSpc>
                <a:spcPct val="100000"/>
              </a:lnSpc>
            </a:pPr>
            <a:r>
              <a:rPr lang="en-US" dirty="0"/>
              <a:t>Est. DCM admissions </a:t>
            </a:r>
          </a:p>
          <a:p>
            <a:pPr>
              <a:lnSpc>
                <a:spcPct val="100000"/>
              </a:lnSpc>
            </a:pPr>
            <a:r>
              <a:rPr lang="en-US" dirty="0">
                <a:solidFill>
                  <a:schemeClr val="accent6"/>
                </a:solidFill>
              </a:rPr>
              <a:t>116k</a:t>
            </a:r>
          </a:p>
          <a:p>
            <a:pPr>
              <a:lnSpc>
                <a:spcPct val="100000"/>
              </a:lnSpc>
            </a:pPr>
            <a:endParaRPr lang="en-US" dirty="0">
              <a:solidFill>
                <a:schemeClr val="accent6"/>
              </a:solidFill>
            </a:endParaRPr>
          </a:p>
          <a:p>
            <a:r>
              <a:rPr lang="en-US" b="0" dirty="0"/>
              <a:t>S</a:t>
            </a:r>
            <a:r>
              <a:rPr lang="en-GB" b="0" dirty="0"/>
              <a:t>ix people unwittingly find themselves locked in another series of escape rooms, slowly uncovering what they have in common in order to survive. When two original survivors join them, new revelations come to light…</a:t>
            </a:r>
          </a:p>
          <a:p>
            <a:br>
              <a:rPr lang="en-GB" dirty="0"/>
            </a:br>
            <a:br>
              <a:rPr lang="en-GB" dirty="0"/>
            </a:br>
            <a:br>
              <a:rPr lang="en-GB" dirty="0"/>
            </a:br>
            <a:br>
              <a:rPr lang="en-GB" dirty="0"/>
            </a:br>
            <a:endParaRPr lang="en-US" dirty="0">
              <a:solidFill>
                <a:schemeClr val="accent6"/>
              </a:solidFill>
            </a:endParaRPr>
          </a:p>
        </p:txBody>
      </p:sp>
      <p:sp>
        <p:nvSpPr>
          <p:cNvPr id="11" name="Title 3">
            <a:extLst>
              <a:ext uri="{FF2B5EF4-FFF2-40B4-BE49-F238E27FC236}">
                <a16:creationId xmlns:a16="http://schemas.microsoft.com/office/drawing/2014/main" id="{7A9111B8-54BF-4884-9303-64D5F781B7AC}"/>
              </a:ext>
            </a:extLst>
          </p:cNvPr>
          <p:cNvSpPr txBox="1">
            <a:spLocks noGrp="1"/>
          </p:cNvSpPr>
          <p:nvPr>
            <p:ph type="title"/>
          </p:nvPr>
        </p:nvSpPr>
        <p:spPr>
          <a:prstGeom prst="rect">
            <a:avLst/>
          </a:prstGeom>
        </p:spPr>
        <p:txBody>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r>
              <a:rPr lang="en-US" sz="2800" dirty="0"/>
              <a:t>Escape Room: tournament of Champions</a:t>
            </a:r>
          </a:p>
        </p:txBody>
      </p:sp>
      <p:sp>
        <p:nvSpPr>
          <p:cNvPr id="12" name="Text Placeholder 2">
            <a:extLst>
              <a:ext uri="{FF2B5EF4-FFF2-40B4-BE49-F238E27FC236}">
                <a16:creationId xmlns:a16="http://schemas.microsoft.com/office/drawing/2014/main" id="{C64BE2C2-4FD7-470A-9D69-F8C697ED0121}"/>
              </a:ext>
            </a:extLst>
          </p:cNvPr>
          <p:cNvSpPr>
            <a:spLocks noGrp="1"/>
          </p:cNvSpPr>
          <p:nvPr>
            <p:ph type="body" sz="quarter" idx="14"/>
          </p:nvPr>
        </p:nvSpPr>
        <p:spPr bwMode="gray">
          <a:xfrm>
            <a:off x="269875" y="622014"/>
            <a:ext cx="12423775" cy="436563"/>
          </a:xfrm>
          <a:prstGeom prst="rect">
            <a:avLst/>
          </a:prstGeom>
        </p:spPr>
        <p:txBody>
          <a:bodyPr/>
          <a:lstStyle/>
          <a:p>
            <a:r>
              <a:rPr lang="en-GB" sz="1400" dirty="0">
                <a:solidFill>
                  <a:schemeClr val="accent6"/>
                </a:solidFill>
              </a:rPr>
              <a:t>Back for more puzzling horror!</a:t>
            </a:r>
          </a:p>
        </p:txBody>
      </p:sp>
      <p:sp>
        <p:nvSpPr>
          <p:cNvPr id="15" name="TextBox 14">
            <a:extLst>
              <a:ext uri="{FF2B5EF4-FFF2-40B4-BE49-F238E27FC236}">
                <a16:creationId xmlns:a16="http://schemas.microsoft.com/office/drawing/2014/main" id="{02867752-9319-4148-9EC0-5C48F6403853}"/>
              </a:ext>
            </a:extLst>
          </p:cNvPr>
          <p:cNvSpPr txBox="1"/>
          <p:nvPr/>
        </p:nvSpPr>
        <p:spPr>
          <a:xfrm>
            <a:off x="7267688" y="6519155"/>
            <a:ext cx="5454424" cy="338554"/>
          </a:xfrm>
          <a:prstGeom prst="rect">
            <a:avLst/>
          </a:prstGeom>
          <a:noFill/>
          <a:ln>
            <a:noFill/>
          </a:ln>
        </p:spPr>
        <p:txBody>
          <a:bodyPr wrap="square" rtlCol="0">
            <a:spAutoFit/>
          </a:bodyPr>
          <a:lstStyle/>
          <a:p>
            <a:pPr algn="ctr"/>
            <a:r>
              <a:rPr lang="en-US" sz="1600" b="1" dirty="0">
                <a:solidFill>
                  <a:schemeClr val="bg1"/>
                </a:solidFill>
                <a:hlinkClick r:id="rId4"/>
              </a:rPr>
              <a:t>Plan your campaign</a:t>
            </a:r>
            <a:endParaRPr lang="en-US" sz="1600" b="1" dirty="0">
              <a:solidFill>
                <a:schemeClr val="bg1"/>
              </a:solidFill>
            </a:endParaRPr>
          </a:p>
        </p:txBody>
      </p:sp>
      <p:grpSp>
        <p:nvGrpSpPr>
          <p:cNvPr id="16" name="Group 15">
            <a:extLst>
              <a:ext uri="{FF2B5EF4-FFF2-40B4-BE49-F238E27FC236}">
                <a16:creationId xmlns:a16="http://schemas.microsoft.com/office/drawing/2014/main" id="{816F28D8-8CD5-48CF-A047-5A46979A2697}"/>
              </a:ext>
            </a:extLst>
          </p:cNvPr>
          <p:cNvGrpSpPr/>
          <p:nvPr/>
        </p:nvGrpSpPr>
        <p:grpSpPr>
          <a:xfrm>
            <a:off x="9430170" y="3353430"/>
            <a:ext cx="1129460" cy="1129040"/>
            <a:chOff x="3429000" y="327025"/>
            <a:chExt cx="4267200" cy="4265613"/>
          </a:xfrm>
          <a:solidFill>
            <a:srgbClr val="FFFFFF">
              <a:alpha val="80000"/>
            </a:srgbClr>
          </a:solidFill>
        </p:grpSpPr>
        <p:sp>
          <p:nvSpPr>
            <p:cNvPr id="17" name="Freeform 5">
              <a:extLst>
                <a:ext uri="{FF2B5EF4-FFF2-40B4-BE49-F238E27FC236}">
                  <a16:creationId xmlns:a16="http://schemas.microsoft.com/office/drawing/2014/main" id="{B4732596-B5C0-4EFD-90A8-77C2055083F5}"/>
                </a:ext>
              </a:extLst>
            </p:cNvPr>
            <p:cNvSpPr>
              <a:spLocks noEditPoints="1"/>
            </p:cNvSpPr>
            <p:nvPr/>
          </p:nvSpPr>
          <p:spPr bwMode="auto">
            <a:xfrm>
              <a:off x="3429000" y="327025"/>
              <a:ext cx="4267200" cy="4265613"/>
            </a:xfrm>
            <a:custGeom>
              <a:avLst/>
              <a:gdLst>
                <a:gd name="T0" fmla="*/ 1139 w 2688"/>
                <a:gd name="T1" fmla="*/ 16 h 2687"/>
                <a:gd name="T2" fmla="*/ 882 w 2688"/>
                <a:gd name="T3" fmla="*/ 82 h 2687"/>
                <a:gd name="T4" fmla="*/ 647 w 2688"/>
                <a:gd name="T5" fmla="*/ 194 h 2687"/>
                <a:gd name="T6" fmla="*/ 440 w 2688"/>
                <a:gd name="T7" fmla="*/ 349 h 2687"/>
                <a:gd name="T8" fmla="*/ 267 w 2688"/>
                <a:gd name="T9" fmla="*/ 540 h 2687"/>
                <a:gd name="T10" fmla="*/ 133 w 2688"/>
                <a:gd name="T11" fmla="*/ 761 h 2687"/>
                <a:gd name="T12" fmla="*/ 43 w 2688"/>
                <a:gd name="T13" fmla="*/ 1008 h 2687"/>
                <a:gd name="T14" fmla="*/ 2 w 2688"/>
                <a:gd name="T15" fmla="*/ 1275 h 2687"/>
                <a:gd name="T16" fmla="*/ 11 w 2688"/>
                <a:gd name="T17" fmla="*/ 1515 h 2687"/>
                <a:gd name="T18" fmla="*/ 71 w 2688"/>
                <a:gd name="T19" fmla="*/ 1775 h 2687"/>
                <a:gd name="T20" fmla="*/ 178 w 2688"/>
                <a:gd name="T21" fmla="*/ 2012 h 2687"/>
                <a:gd name="T22" fmla="*/ 327 w 2688"/>
                <a:gd name="T23" fmla="*/ 2222 h 2687"/>
                <a:gd name="T24" fmla="*/ 514 w 2688"/>
                <a:gd name="T25" fmla="*/ 2400 h 2687"/>
                <a:gd name="T26" fmla="*/ 732 w 2688"/>
                <a:gd name="T27" fmla="*/ 2540 h 2687"/>
                <a:gd name="T28" fmla="*/ 976 w 2688"/>
                <a:gd name="T29" fmla="*/ 2637 h 2687"/>
                <a:gd name="T30" fmla="*/ 1241 w 2688"/>
                <a:gd name="T31" fmla="*/ 2683 h 2687"/>
                <a:gd name="T32" fmla="*/ 1481 w 2688"/>
                <a:gd name="T33" fmla="*/ 2681 h 2687"/>
                <a:gd name="T34" fmla="*/ 1743 w 2688"/>
                <a:gd name="T35" fmla="*/ 2627 h 2687"/>
                <a:gd name="T36" fmla="*/ 1985 w 2688"/>
                <a:gd name="T37" fmla="*/ 2525 h 2687"/>
                <a:gd name="T38" fmla="*/ 2198 w 2688"/>
                <a:gd name="T39" fmla="*/ 2380 h 2687"/>
                <a:gd name="T40" fmla="*/ 2381 w 2688"/>
                <a:gd name="T41" fmla="*/ 2199 h 2687"/>
                <a:gd name="T42" fmla="*/ 2526 w 2688"/>
                <a:gd name="T43" fmla="*/ 1984 h 2687"/>
                <a:gd name="T44" fmla="*/ 2628 w 2688"/>
                <a:gd name="T45" fmla="*/ 1743 h 2687"/>
                <a:gd name="T46" fmla="*/ 2682 w 2688"/>
                <a:gd name="T47" fmla="*/ 1481 h 2687"/>
                <a:gd name="T48" fmla="*/ 2684 w 2688"/>
                <a:gd name="T49" fmla="*/ 1240 h 2687"/>
                <a:gd name="T50" fmla="*/ 2638 w 2688"/>
                <a:gd name="T51" fmla="*/ 975 h 2687"/>
                <a:gd name="T52" fmla="*/ 2541 w 2688"/>
                <a:gd name="T53" fmla="*/ 732 h 2687"/>
                <a:gd name="T54" fmla="*/ 2401 w 2688"/>
                <a:gd name="T55" fmla="*/ 514 h 2687"/>
                <a:gd name="T56" fmla="*/ 2223 w 2688"/>
                <a:gd name="T57" fmla="*/ 328 h 2687"/>
                <a:gd name="T58" fmla="*/ 2013 w 2688"/>
                <a:gd name="T59" fmla="*/ 178 h 2687"/>
                <a:gd name="T60" fmla="*/ 1776 w 2688"/>
                <a:gd name="T61" fmla="*/ 71 h 2687"/>
                <a:gd name="T62" fmla="*/ 1516 w 2688"/>
                <a:gd name="T63" fmla="*/ 11 h 2687"/>
                <a:gd name="T64" fmla="*/ 1344 w 2688"/>
                <a:gd name="T65" fmla="*/ 2417 h 2687"/>
                <a:gd name="T66" fmla="*/ 1128 w 2688"/>
                <a:gd name="T67" fmla="*/ 2395 h 2687"/>
                <a:gd name="T68" fmla="*/ 926 w 2688"/>
                <a:gd name="T69" fmla="*/ 2333 h 2687"/>
                <a:gd name="T70" fmla="*/ 585 w 2688"/>
                <a:gd name="T71" fmla="*/ 2102 h 2687"/>
                <a:gd name="T72" fmla="*/ 355 w 2688"/>
                <a:gd name="T73" fmla="*/ 1761 h 2687"/>
                <a:gd name="T74" fmla="*/ 292 w 2688"/>
                <a:gd name="T75" fmla="*/ 1560 h 2687"/>
                <a:gd name="T76" fmla="*/ 271 w 2688"/>
                <a:gd name="T77" fmla="*/ 1344 h 2687"/>
                <a:gd name="T78" fmla="*/ 288 w 2688"/>
                <a:gd name="T79" fmla="*/ 1154 h 2687"/>
                <a:gd name="T80" fmla="*/ 346 w 2688"/>
                <a:gd name="T81" fmla="*/ 951 h 2687"/>
                <a:gd name="T82" fmla="*/ 550 w 2688"/>
                <a:gd name="T83" fmla="*/ 622 h 2687"/>
                <a:gd name="T84" fmla="*/ 879 w 2688"/>
                <a:gd name="T85" fmla="*/ 377 h 2687"/>
                <a:gd name="T86" fmla="*/ 1101 w 2688"/>
                <a:gd name="T87" fmla="*/ 298 h 2687"/>
                <a:gd name="T88" fmla="*/ 1316 w 2688"/>
                <a:gd name="T89" fmla="*/ 271 h 2687"/>
                <a:gd name="T90" fmla="*/ 1507 w 2688"/>
                <a:gd name="T91" fmla="*/ 283 h 2687"/>
                <a:gd name="T92" fmla="*/ 1713 w 2688"/>
                <a:gd name="T93" fmla="*/ 336 h 2687"/>
                <a:gd name="T94" fmla="*/ 2027 w 2688"/>
                <a:gd name="T95" fmla="*/ 516 h 2687"/>
                <a:gd name="T96" fmla="*/ 2288 w 2688"/>
                <a:gd name="T97" fmla="*/ 833 h 2687"/>
                <a:gd name="T98" fmla="*/ 2384 w 2688"/>
                <a:gd name="T99" fmla="*/ 1075 h 2687"/>
                <a:gd name="T100" fmla="*/ 2416 w 2688"/>
                <a:gd name="T101" fmla="*/ 1289 h 2687"/>
                <a:gd name="T102" fmla="*/ 2409 w 2688"/>
                <a:gd name="T103" fmla="*/ 1481 h 2687"/>
                <a:gd name="T104" fmla="*/ 2362 w 2688"/>
                <a:gd name="T105" fmla="*/ 1688 h 2687"/>
                <a:gd name="T106" fmla="*/ 2204 w 2688"/>
                <a:gd name="T107" fmla="*/ 1985 h 2687"/>
                <a:gd name="T108" fmla="*/ 1901 w 2688"/>
                <a:gd name="T109" fmla="*/ 2261 h 2687"/>
                <a:gd name="T110" fmla="*/ 1638 w 2688"/>
                <a:gd name="T111" fmla="*/ 2376 h 2687"/>
                <a:gd name="T112" fmla="*/ 1427 w 2688"/>
                <a:gd name="T113" fmla="*/ 2413 h 2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88" h="2687">
                  <a:moveTo>
                    <a:pt x="1344" y="0"/>
                  </a:moveTo>
                  <a:lnTo>
                    <a:pt x="1344" y="0"/>
                  </a:lnTo>
                  <a:lnTo>
                    <a:pt x="1310" y="1"/>
                  </a:lnTo>
                  <a:lnTo>
                    <a:pt x="1275" y="2"/>
                  </a:lnTo>
                  <a:lnTo>
                    <a:pt x="1241" y="4"/>
                  </a:lnTo>
                  <a:lnTo>
                    <a:pt x="1207" y="8"/>
                  </a:lnTo>
                  <a:lnTo>
                    <a:pt x="1173" y="11"/>
                  </a:lnTo>
                  <a:lnTo>
                    <a:pt x="1139" y="16"/>
                  </a:lnTo>
                  <a:lnTo>
                    <a:pt x="1107" y="21"/>
                  </a:lnTo>
                  <a:lnTo>
                    <a:pt x="1073" y="28"/>
                  </a:lnTo>
                  <a:lnTo>
                    <a:pt x="1040" y="34"/>
                  </a:lnTo>
                  <a:lnTo>
                    <a:pt x="1008" y="43"/>
                  </a:lnTo>
                  <a:lnTo>
                    <a:pt x="976" y="52"/>
                  </a:lnTo>
                  <a:lnTo>
                    <a:pt x="945" y="60"/>
                  </a:lnTo>
                  <a:lnTo>
                    <a:pt x="914" y="71"/>
                  </a:lnTo>
                  <a:lnTo>
                    <a:pt x="882" y="82"/>
                  </a:lnTo>
                  <a:lnTo>
                    <a:pt x="851" y="93"/>
                  </a:lnTo>
                  <a:lnTo>
                    <a:pt x="821" y="106"/>
                  </a:lnTo>
                  <a:lnTo>
                    <a:pt x="791" y="119"/>
                  </a:lnTo>
                  <a:lnTo>
                    <a:pt x="761" y="133"/>
                  </a:lnTo>
                  <a:lnTo>
                    <a:pt x="732" y="147"/>
                  </a:lnTo>
                  <a:lnTo>
                    <a:pt x="703" y="162"/>
                  </a:lnTo>
                  <a:lnTo>
                    <a:pt x="675" y="178"/>
                  </a:lnTo>
                  <a:lnTo>
                    <a:pt x="647" y="194"/>
                  </a:lnTo>
                  <a:lnTo>
                    <a:pt x="619" y="211"/>
                  </a:lnTo>
                  <a:lnTo>
                    <a:pt x="593" y="230"/>
                  </a:lnTo>
                  <a:lnTo>
                    <a:pt x="566" y="248"/>
                  </a:lnTo>
                  <a:lnTo>
                    <a:pt x="540" y="267"/>
                  </a:lnTo>
                  <a:lnTo>
                    <a:pt x="514" y="287"/>
                  </a:lnTo>
                  <a:lnTo>
                    <a:pt x="490" y="307"/>
                  </a:lnTo>
                  <a:lnTo>
                    <a:pt x="465" y="328"/>
                  </a:lnTo>
                  <a:lnTo>
                    <a:pt x="440" y="349"/>
                  </a:lnTo>
                  <a:lnTo>
                    <a:pt x="417" y="371"/>
                  </a:lnTo>
                  <a:lnTo>
                    <a:pt x="394" y="394"/>
                  </a:lnTo>
                  <a:lnTo>
                    <a:pt x="371" y="416"/>
                  </a:lnTo>
                  <a:lnTo>
                    <a:pt x="349" y="440"/>
                  </a:lnTo>
                  <a:lnTo>
                    <a:pt x="327" y="465"/>
                  </a:lnTo>
                  <a:lnTo>
                    <a:pt x="307" y="489"/>
                  </a:lnTo>
                  <a:lnTo>
                    <a:pt x="287" y="514"/>
                  </a:lnTo>
                  <a:lnTo>
                    <a:pt x="267" y="540"/>
                  </a:lnTo>
                  <a:lnTo>
                    <a:pt x="248" y="566"/>
                  </a:lnTo>
                  <a:lnTo>
                    <a:pt x="230" y="592"/>
                  </a:lnTo>
                  <a:lnTo>
                    <a:pt x="211" y="619"/>
                  </a:lnTo>
                  <a:lnTo>
                    <a:pt x="194" y="647"/>
                  </a:lnTo>
                  <a:lnTo>
                    <a:pt x="178" y="675"/>
                  </a:lnTo>
                  <a:lnTo>
                    <a:pt x="162" y="703"/>
                  </a:lnTo>
                  <a:lnTo>
                    <a:pt x="147" y="732"/>
                  </a:lnTo>
                  <a:lnTo>
                    <a:pt x="133" y="761"/>
                  </a:lnTo>
                  <a:lnTo>
                    <a:pt x="119" y="791"/>
                  </a:lnTo>
                  <a:lnTo>
                    <a:pt x="106" y="821"/>
                  </a:lnTo>
                  <a:lnTo>
                    <a:pt x="93" y="851"/>
                  </a:lnTo>
                  <a:lnTo>
                    <a:pt x="82" y="882"/>
                  </a:lnTo>
                  <a:lnTo>
                    <a:pt x="71" y="913"/>
                  </a:lnTo>
                  <a:lnTo>
                    <a:pt x="60" y="944"/>
                  </a:lnTo>
                  <a:lnTo>
                    <a:pt x="52" y="975"/>
                  </a:lnTo>
                  <a:lnTo>
                    <a:pt x="43" y="1008"/>
                  </a:lnTo>
                  <a:lnTo>
                    <a:pt x="34" y="1040"/>
                  </a:lnTo>
                  <a:lnTo>
                    <a:pt x="28" y="1073"/>
                  </a:lnTo>
                  <a:lnTo>
                    <a:pt x="21" y="1106"/>
                  </a:lnTo>
                  <a:lnTo>
                    <a:pt x="16" y="1140"/>
                  </a:lnTo>
                  <a:lnTo>
                    <a:pt x="11" y="1173"/>
                  </a:lnTo>
                  <a:lnTo>
                    <a:pt x="8" y="1206"/>
                  </a:lnTo>
                  <a:lnTo>
                    <a:pt x="4" y="1240"/>
                  </a:lnTo>
                  <a:lnTo>
                    <a:pt x="2" y="1275"/>
                  </a:lnTo>
                  <a:lnTo>
                    <a:pt x="1" y="1309"/>
                  </a:lnTo>
                  <a:lnTo>
                    <a:pt x="0" y="1344"/>
                  </a:lnTo>
                  <a:lnTo>
                    <a:pt x="0" y="1344"/>
                  </a:lnTo>
                  <a:lnTo>
                    <a:pt x="1" y="1378"/>
                  </a:lnTo>
                  <a:lnTo>
                    <a:pt x="2" y="1413"/>
                  </a:lnTo>
                  <a:lnTo>
                    <a:pt x="4" y="1447"/>
                  </a:lnTo>
                  <a:lnTo>
                    <a:pt x="8" y="1481"/>
                  </a:lnTo>
                  <a:lnTo>
                    <a:pt x="11" y="1515"/>
                  </a:lnTo>
                  <a:lnTo>
                    <a:pt x="16" y="1548"/>
                  </a:lnTo>
                  <a:lnTo>
                    <a:pt x="21" y="1582"/>
                  </a:lnTo>
                  <a:lnTo>
                    <a:pt x="28" y="1614"/>
                  </a:lnTo>
                  <a:lnTo>
                    <a:pt x="34" y="1647"/>
                  </a:lnTo>
                  <a:lnTo>
                    <a:pt x="43" y="1679"/>
                  </a:lnTo>
                  <a:lnTo>
                    <a:pt x="52" y="1712"/>
                  </a:lnTo>
                  <a:lnTo>
                    <a:pt x="60" y="1743"/>
                  </a:lnTo>
                  <a:lnTo>
                    <a:pt x="71" y="1775"/>
                  </a:lnTo>
                  <a:lnTo>
                    <a:pt x="82" y="1806"/>
                  </a:lnTo>
                  <a:lnTo>
                    <a:pt x="93" y="1836"/>
                  </a:lnTo>
                  <a:lnTo>
                    <a:pt x="106" y="1866"/>
                  </a:lnTo>
                  <a:lnTo>
                    <a:pt x="119" y="1896"/>
                  </a:lnTo>
                  <a:lnTo>
                    <a:pt x="133" y="1926"/>
                  </a:lnTo>
                  <a:lnTo>
                    <a:pt x="147" y="1955"/>
                  </a:lnTo>
                  <a:lnTo>
                    <a:pt x="162" y="1984"/>
                  </a:lnTo>
                  <a:lnTo>
                    <a:pt x="178" y="2012"/>
                  </a:lnTo>
                  <a:lnTo>
                    <a:pt x="194" y="2040"/>
                  </a:lnTo>
                  <a:lnTo>
                    <a:pt x="211" y="2068"/>
                  </a:lnTo>
                  <a:lnTo>
                    <a:pt x="230" y="2095"/>
                  </a:lnTo>
                  <a:lnTo>
                    <a:pt x="248" y="2121"/>
                  </a:lnTo>
                  <a:lnTo>
                    <a:pt x="267" y="2147"/>
                  </a:lnTo>
                  <a:lnTo>
                    <a:pt x="287" y="2173"/>
                  </a:lnTo>
                  <a:lnTo>
                    <a:pt x="307" y="2199"/>
                  </a:lnTo>
                  <a:lnTo>
                    <a:pt x="327" y="2222"/>
                  </a:lnTo>
                  <a:lnTo>
                    <a:pt x="349" y="2247"/>
                  </a:lnTo>
                  <a:lnTo>
                    <a:pt x="371" y="2271"/>
                  </a:lnTo>
                  <a:lnTo>
                    <a:pt x="394" y="2293"/>
                  </a:lnTo>
                  <a:lnTo>
                    <a:pt x="417" y="2316"/>
                  </a:lnTo>
                  <a:lnTo>
                    <a:pt x="440" y="2338"/>
                  </a:lnTo>
                  <a:lnTo>
                    <a:pt x="465" y="2360"/>
                  </a:lnTo>
                  <a:lnTo>
                    <a:pt x="490" y="2380"/>
                  </a:lnTo>
                  <a:lnTo>
                    <a:pt x="514" y="2400"/>
                  </a:lnTo>
                  <a:lnTo>
                    <a:pt x="540" y="2420"/>
                  </a:lnTo>
                  <a:lnTo>
                    <a:pt x="566" y="2439"/>
                  </a:lnTo>
                  <a:lnTo>
                    <a:pt x="593" y="2457"/>
                  </a:lnTo>
                  <a:lnTo>
                    <a:pt x="619" y="2476"/>
                  </a:lnTo>
                  <a:lnTo>
                    <a:pt x="647" y="2493"/>
                  </a:lnTo>
                  <a:lnTo>
                    <a:pt x="675" y="2509"/>
                  </a:lnTo>
                  <a:lnTo>
                    <a:pt x="703" y="2525"/>
                  </a:lnTo>
                  <a:lnTo>
                    <a:pt x="732" y="2540"/>
                  </a:lnTo>
                  <a:lnTo>
                    <a:pt x="761" y="2555"/>
                  </a:lnTo>
                  <a:lnTo>
                    <a:pt x="791" y="2569"/>
                  </a:lnTo>
                  <a:lnTo>
                    <a:pt x="821" y="2582"/>
                  </a:lnTo>
                  <a:lnTo>
                    <a:pt x="851" y="2594"/>
                  </a:lnTo>
                  <a:lnTo>
                    <a:pt x="882" y="2605"/>
                  </a:lnTo>
                  <a:lnTo>
                    <a:pt x="914" y="2616"/>
                  </a:lnTo>
                  <a:lnTo>
                    <a:pt x="945" y="2627"/>
                  </a:lnTo>
                  <a:lnTo>
                    <a:pt x="976" y="2637"/>
                  </a:lnTo>
                  <a:lnTo>
                    <a:pt x="1008" y="2645"/>
                  </a:lnTo>
                  <a:lnTo>
                    <a:pt x="1040" y="2653"/>
                  </a:lnTo>
                  <a:lnTo>
                    <a:pt x="1073" y="2660"/>
                  </a:lnTo>
                  <a:lnTo>
                    <a:pt x="1107" y="2667"/>
                  </a:lnTo>
                  <a:lnTo>
                    <a:pt x="1139" y="2672"/>
                  </a:lnTo>
                  <a:lnTo>
                    <a:pt x="1173" y="2676"/>
                  </a:lnTo>
                  <a:lnTo>
                    <a:pt x="1207" y="2681"/>
                  </a:lnTo>
                  <a:lnTo>
                    <a:pt x="1241" y="2683"/>
                  </a:lnTo>
                  <a:lnTo>
                    <a:pt x="1275" y="2686"/>
                  </a:lnTo>
                  <a:lnTo>
                    <a:pt x="1310" y="2687"/>
                  </a:lnTo>
                  <a:lnTo>
                    <a:pt x="1344" y="2687"/>
                  </a:lnTo>
                  <a:lnTo>
                    <a:pt x="1344" y="2687"/>
                  </a:lnTo>
                  <a:lnTo>
                    <a:pt x="1378" y="2687"/>
                  </a:lnTo>
                  <a:lnTo>
                    <a:pt x="1414" y="2686"/>
                  </a:lnTo>
                  <a:lnTo>
                    <a:pt x="1447" y="2683"/>
                  </a:lnTo>
                  <a:lnTo>
                    <a:pt x="1481" y="2681"/>
                  </a:lnTo>
                  <a:lnTo>
                    <a:pt x="1516" y="2676"/>
                  </a:lnTo>
                  <a:lnTo>
                    <a:pt x="1549" y="2672"/>
                  </a:lnTo>
                  <a:lnTo>
                    <a:pt x="1582" y="2667"/>
                  </a:lnTo>
                  <a:lnTo>
                    <a:pt x="1615" y="2660"/>
                  </a:lnTo>
                  <a:lnTo>
                    <a:pt x="1648" y="2653"/>
                  </a:lnTo>
                  <a:lnTo>
                    <a:pt x="1680" y="2645"/>
                  </a:lnTo>
                  <a:lnTo>
                    <a:pt x="1712" y="2637"/>
                  </a:lnTo>
                  <a:lnTo>
                    <a:pt x="1743" y="2627"/>
                  </a:lnTo>
                  <a:lnTo>
                    <a:pt x="1776" y="2616"/>
                  </a:lnTo>
                  <a:lnTo>
                    <a:pt x="1807" y="2605"/>
                  </a:lnTo>
                  <a:lnTo>
                    <a:pt x="1837" y="2594"/>
                  </a:lnTo>
                  <a:lnTo>
                    <a:pt x="1867" y="2582"/>
                  </a:lnTo>
                  <a:lnTo>
                    <a:pt x="1897" y="2569"/>
                  </a:lnTo>
                  <a:lnTo>
                    <a:pt x="1927" y="2555"/>
                  </a:lnTo>
                  <a:lnTo>
                    <a:pt x="1956" y="2540"/>
                  </a:lnTo>
                  <a:lnTo>
                    <a:pt x="1985" y="2525"/>
                  </a:lnTo>
                  <a:lnTo>
                    <a:pt x="2013" y="2509"/>
                  </a:lnTo>
                  <a:lnTo>
                    <a:pt x="2041" y="2493"/>
                  </a:lnTo>
                  <a:lnTo>
                    <a:pt x="2069" y="2476"/>
                  </a:lnTo>
                  <a:lnTo>
                    <a:pt x="2095" y="2457"/>
                  </a:lnTo>
                  <a:lnTo>
                    <a:pt x="2122" y="2439"/>
                  </a:lnTo>
                  <a:lnTo>
                    <a:pt x="2148" y="2420"/>
                  </a:lnTo>
                  <a:lnTo>
                    <a:pt x="2174" y="2400"/>
                  </a:lnTo>
                  <a:lnTo>
                    <a:pt x="2198" y="2380"/>
                  </a:lnTo>
                  <a:lnTo>
                    <a:pt x="2223" y="2360"/>
                  </a:lnTo>
                  <a:lnTo>
                    <a:pt x="2248" y="2338"/>
                  </a:lnTo>
                  <a:lnTo>
                    <a:pt x="2271" y="2316"/>
                  </a:lnTo>
                  <a:lnTo>
                    <a:pt x="2294" y="2293"/>
                  </a:lnTo>
                  <a:lnTo>
                    <a:pt x="2317" y="2271"/>
                  </a:lnTo>
                  <a:lnTo>
                    <a:pt x="2339" y="2247"/>
                  </a:lnTo>
                  <a:lnTo>
                    <a:pt x="2361" y="2222"/>
                  </a:lnTo>
                  <a:lnTo>
                    <a:pt x="2381" y="2199"/>
                  </a:lnTo>
                  <a:lnTo>
                    <a:pt x="2401" y="2173"/>
                  </a:lnTo>
                  <a:lnTo>
                    <a:pt x="2421" y="2147"/>
                  </a:lnTo>
                  <a:lnTo>
                    <a:pt x="2440" y="2121"/>
                  </a:lnTo>
                  <a:lnTo>
                    <a:pt x="2458" y="2095"/>
                  </a:lnTo>
                  <a:lnTo>
                    <a:pt x="2477" y="2068"/>
                  </a:lnTo>
                  <a:lnTo>
                    <a:pt x="2494" y="2040"/>
                  </a:lnTo>
                  <a:lnTo>
                    <a:pt x="2510" y="2012"/>
                  </a:lnTo>
                  <a:lnTo>
                    <a:pt x="2526" y="1984"/>
                  </a:lnTo>
                  <a:lnTo>
                    <a:pt x="2541" y="1955"/>
                  </a:lnTo>
                  <a:lnTo>
                    <a:pt x="2556" y="1926"/>
                  </a:lnTo>
                  <a:lnTo>
                    <a:pt x="2569" y="1896"/>
                  </a:lnTo>
                  <a:lnTo>
                    <a:pt x="2583" y="1866"/>
                  </a:lnTo>
                  <a:lnTo>
                    <a:pt x="2595" y="1836"/>
                  </a:lnTo>
                  <a:lnTo>
                    <a:pt x="2606" y="1806"/>
                  </a:lnTo>
                  <a:lnTo>
                    <a:pt x="2617" y="1775"/>
                  </a:lnTo>
                  <a:lnTo>
                    <a:pt x="2628" y="1743"/>
                  </a:lnTo>
                  <a:lnTo>
                    <a:pt x="2638" y="1712"/>
                  </a:lnTo>
                  <a:lnTo>
                    <a:pt x="2646" y="1679"/>
                  </a:lnTo>
                  <a:lnTo>
                    <a:pt x="2654" y="1647"/>
                  </a:lnTo>
                  <a:lnTo>
                    <a:pt x="2661" y="1614"/>
                  </a:lnTo>
                  <a:lnTo>
                    <a:pt x="2668" y="1582"/>
                  </a:lnTo>
                  <a:lnTo>
                    <a:pt x="2673" y="1548"/>
                  </a:lnTo>
                  <a:lnTo>
                    <a:pt x="2677" y="1515"/>
                  </a:lnTo>
                  <a:lnTo>
                    <a:pt x="2682" y="1481"/>
                  </a:lnTo>
                  <a:lnTo>
                    <a:pt x="2684" y="1447"/>
                  </a:lnTo>
                  <a:lnTo>
                    <a:pt x="2686" y="1413"/>
                  </a:lnTo>
                  <a:lnTo>
                    <a:pt x="2688" y="1378"/>
                  </a:lnTo>
                  <a:lnTo>
                    <a:pt x="2688" y="1344"/>
                  </a:lnTo>
                  <a:lnTo>
                    <a:pt x="2688" y="1344"/>
                  </a:lnTo>
                  <a:lnTo>
                    <a:pt x="2688" y="1309"/>
                  </a:lnTo>
                  <a:lnTo>
                    <a:pt x="2686" y="1275"/>
                  </a:lnTo>
                  <a:lnTo>
                    <a:pt x="2684" y="1240"/>
                  </a:lnTo>
                  <a:lnTo>
                    <a:pt x="2682" y="1206"/>
                  </a:lnTo>
                  <a:lnTo>
                    <a:pt x="2677" y="1173"/>
                  </a:lnTo>
                  <a:lnTo>
                    <a:pt x="2673" y="1140"/>
                  </a:lnTo>
                  <a:lnTo>
                    <a:pt x="2668" y="1106"/>
                  </a:lnTo>
                  <a:lnTo>
                    <a:pt x="2661" y="1073"/>
                  </a:lnTo>
                  <a:lnTo>
                    <a:pt x="2654" y="1040"/>
                  </a:lnTo>
                  <a:lnTo>
                    <a:pt x="2646" y="1008"/>
                  </a:lnTo>
                  <a:lnTo>
                    <a:pt x="2638" y="975"/>
                  </a:lnTo>
                  <a:lnTo>
                    <a:pt x="2628" y="944"/>
                  </a:lnTo>
                  <a:lnTo>
                    <a:pt x="2617" y="913"/>
                  </a:lnTo>
                  <a:lnTo>
                    <a:pt x="2606" y="882"/>
                  </a:lnTo>
                  <a:lnTo>
                    <a:pt x="2595" y="851"/>
                  </a:lnTo>
                  <a:lnTo>
                    <a:pt x="2583" y="821"/>
                  </a:lnTo>
                  <a:lnTo>
                    <a:pt x="2569" y="791"/>
                  </a:lnTo>
                  <a:lnTo>
                    <a:pt x="2556" y="761"/>
                  </a:lnTo>
                  <a:lnTo>
                    <a:pt x="2541" y="732"/>
                  </a:lnTo>
                  <a:lnTo>
                    <a:pt x="2526" y="703"/>
                  </a:lnTo>
                  <a:lnTo>
                    <a:pt x="2510" y="675"/>
                  </a:lnTo>
                  <a:lnTo>
                    <a:pt x="2494" y="647"/>
                  </a:lnTo>
                  <a:lnTo>
                    <a:pt x="2477" y="619"/>
                  </a:lnTo>
                  <a:lnTo>
                    <a:pt x="2458" y="592"/>
                  </a:lnTo>
                  <a:lnTo>
                    <a:pt x="2440" y="566"/>
                  </a:lnTo>
                  <a:lnTo>
                    <a:pt x="2421" y="540"/>
                  </a:lnTo>
                  <a:lnTo>
                    <a:pt x="2401" y="514"/>
                  </a:lnTo>
                  <a:lnTo>
                    <a:pt x="2381" y="489"/>
                  </a:lnTo>
                  <a:lnTo>
                    <a:pt x="2361" y="465"/>
                  </a:lnTo>
                  <a:lnTo>
                    <a:pt x="2339" y="440"/>
                  </a:lnTo>
                  <a:lnTo>
                    <a:pt x="2317" y="416"/>
                  </a:lnTo>
                  <a:lnTo>
                    <a:pt x="2294" y="394"/>
                  </a:lnTo>
                  <a:lnTo>
                    <a:pt x="2271" y="371"/>
                  </a:lnTo>
                  <a:lnTo>
                    <a:pt x="2248" y="349"/>
                  </a:lnTo>
                  <a:lnTo>
                    <a:pt x="2223" y="328"/>
                  </a:lnTo>
                  <a:lnTo>
                    <a:pt x="2198" y="307"/>
                  </a:lnTo>
                  <a:lnTo>
                    <a:pt x="2174" y="287"/>
                  </a:lnTo>
                  <a:lnTo>
                    <a:pt x="2148" y="267"/>
                  </a:lnTo>
                  <a:lnTo>
                    <a:pt x="2122" y="248"/>
                  </a:lnTo>
                  <a:lnTo>
                    <a:pt x="2095" y="230"/>
                  </a:lnTo>
                  <a:lnTo>
                    <a:pt x="2069" y="211"/>
                  </a:lnTo>
                  <a:lnTo>
                    <a:pt x="2041" y="194"/>
                  </a:lnTo>
                  <a:lnTo>
                    <a:pt x="2013" y="178"/>
                  </a:lnTo>
                  <a:lnTo>
                    <a:pt x="1985" y="162"/>
                  </a:lnTo>
                  <a:lnTo>
                    <a:pt x="1956" y="147"/>
                  </a:lnTo>
                  <a:lnTo>
                    <a:pt x="1927" y="133"/>
                  </a:lnTo>
                  <a:lnTo>
                    <a:pt x="1897" y="119"/>
                  </a:lnTo>
                  <a:lnTo>
                    <a:pt x="1867" y="106"/>
                  </a:lnTo>
                  <a:lnTo>
                    <a:pt x="1837" y="93"/>
                  </a:lnTo>
                  <a:lnTo>
                    <a:pt x="1807" y="82"/>
                  </a:lnTo>
                  <a:lnTo>
                    <a:pt x="1776" y="71"/>
                  </a:lnTo>
                  <a:lnTo>
                    <a:pt x="1743" y="60"/>
                  </a:lnTo>
                  <a:lnTo>
                    <a:pt x="1712" y="52"/>
                  </a:lnTo>
                  <a:lnTo>
                    <a:pt x="1680" y="43"/>
                  </a:lnTo>
                  <a:lnTo>
                    <a:pt x="1648" y="34"/>
                  </a:lnTo>
                  <a:lnTo>
                    <a:pt x="1615" y="28"/>
                  </a:lnTo>
                  <a:lnTo>
                    <a:pt x="1582" y="21"/>
                  </a:lnTo>
                  <a:lnTo>
                    <a:pt x="1549" y="16"/>
                  </a:lnTo>
                  <a:lnTo>
                    <a:pt x="1516" y="11"/>
                  </a:lnTo>
                  <a:lnTo>
                    <a:pt x="1481" y="8"/>
                  </a:lnTo>
                  <a:lnTo>
                    <a:pt x="1447" y="4"/>
                  </a:lnTo>
                  <a:lnTo>
                    <a:pt x="1414" y="2"/>
                  </a:lnTo>
                  <a:lnTo>
                    <a:pt x="1378" y="1"/>
                  </a:lnTo>
                  <a:lnTo>
                    <a:pt x="1344" y="0"/>
                  </a:lnTo>
                  <a:lnTo>
                    <a:pt x="1344" y="0"/>
                  </a:lnTo>
                  <a:close/>
                  <a:moveTo>
                    <a:pt x="1344" y="2417"/>
                  </a:moveTo>
                  <a:lnTo>
                    <a:pt x="1344" y="2417"/>
                  </a:lnTo>
                  <a:lnTo>
                    <a:pt x="1316" y="2417"/>
                  </a:lnTo>
                  <a:lnTo>
                    <a:pt x="1289" y="2416"/>
                  </a:lnTo>
                  <a:lnTo>
                    <a:pt x="1261" y="2413"/>
                  </a:lnTo>
                  <a:lnTo>
                    <a:pt x="1235" y="2411"/>
                  </a:lnTo>
                  <a:lnTo>
                    <a:pt x="1208" y="2408"/>
                  </a:lnTo>
                  <a:lnTo>
                    <a:pt x="1181" y="2405"/>
                  </a:lnTo>
                  <a:lnTo>
                    <a:pt x="1154" y="2400"/>
                  </a:lnTo>
                  <a:lnTo>
                    <a:pt x="1128" y="2395"/>
                  </a:lnTo>
                  <a:lnTo>
                    <a:pt x="1101" y="2390"/>
                  </a:lnTo>
                  <a:lnTo>
                    <a:pt x="1076" y="2383"/>
                  </a:lnTo>
                  <a:lnTo>
                    <a:pt x="1050" y="2376"/>
                  </a:lnTo>
                  <a:lnTo>
                    <a:pt x="1025" y="2368"/>
                  </a:lnTo>
                  <a:lnTo>
                    <a:pt x="999" y="2361"/>
                  </a:lnTo>
                  <a:lnTo>
                    <a:pt x="975" y="2351"/>
                  </a:lnTo>
                  <a:lnTo>
                    <a:pt x="950" y="2343"/>
                  </a:lnTo>
                  <a:lnTo>
                    <a:pt x="926" y="2333"/>
                  </a:lnTo>
                  <a:lnTo>
                    <a:pt x="879" y="2311"/>
                  </a:lnTo>
                  <a:lnTo>
                    <a:pt x="832" y="2287"/>
                  </a:lnTo>
                  <a:lnTo>
                    <a:pt x="788" y="2261"/>
                  </a:lnTo>
                  <a:lnTo>
                    <a:pt x="744" y="2233"/>
                  </a:lnTo>
                  <a:lnTo>
                    <a:pt x="702" y="2203"/>
                  </a:lnTo>
                  <a:lnTo>
                    <a:pt x="661" y="2172"/>
                  </a:lnTo>
                  <a:lnTo>
                    <a:pt x="623" y="2138"/>
                  </a:lnTo>
                  <a:lnTo>
                    <a:pt x="585" y="2102"/>
                  </a:lnTo>
                  <a:lnTo>
                    <a:pt x="550" y="2066"/>
                  </a:lnTo>
                  <a:lnTo>
                    <a:pt x="516" y="2026"/>
                  </a:lnTo>
                  <a:lnTo>
                    <a:pt x="484" y="1985"/>
                  </a:lnTo>
                  <a:lnTo>
                    <a:pt x="454" y="1943"/>
                  </a:lnTo>
                  <a:lnTo>
                    <a:pt x="426" y="1900"/>
                  </a:lnTo>
                  <a:lnTo>
                    <a:pt x="400" y="1855"/>
                  </a:lnTo>
                  <a:lnTo>
                    <a:pt x="377" y="1809"/>
                  </a:lnTo>
                  <a:lnTo>
                    <a:pt x="355" y="1761"/>
                  </a:lnTo>
                  <a:lnTo>
                    <a:pt x="346" y="1737"/>
                  </a:lnTo>
                  <a:lnTo>
                    <a:pt x="336" y="1713"/>
                  </a:lnTo>
                  <a:lnTo>
                    <a:pt x="327" y="1688"/>
                  </a:lnTo>
                  <a:lnTo>
                    <a:pt x="319" y="1663"/>
                  </a:lnTo>
                  <a:lnTo>
                    <a:pt x="311" y="1638"/>
                  </a:lnTo>
                  <a:lnTo>
                    <a:pt x="305" y="1612"/>
                  </a:lnTo>
                  <a:lnTo>
                    <a:pt x="298" y="1586"/>
                  </a:lnTo>
                  <a:lnTo>
                    <a:pt x="292" y="1560"/>
                  </a:lnTo>
                  <a:lnTo>
                    <a:pt x="288" y="1533"/>
                  </a:lnTo>
                  <a:lnTo>
                    <a:pt x="283" y="1507"/>
                  </a:lnTo>
                  <a:lnTo>
                    <a:pt x="279" y="1481"/>
                  </a:lnTo>
                  <a:lnTo>
                    <a:pt x="276" y="1453"/>
                  </a:lnTo>
                  <a:lnTo>
                    <a:pt x="274" y="1426"/>
                  </a:lnTo>
                  <a:lnTo>
                    <a:pt x="272" y="1399"/>
                  </a:lnTo>
                  <a:lnTo>
                    <a:pt x="272" y="1371"/>
                  </a:lnTo>
                  <a:lnTo>
                    <a:pt x="271" y="1344"/>
                  </a:lnTo>
                  <a:lnTo>
                    <a:pt x="271" y="1344"/>
                  </a:lnTo>
                  <a:lnTo>
                    <a:pt x="272" y="1316"/>
                  </a:lnTo>
                  <a:lnTo>
                    <a:pt x="272" y="1289"/>
                  </a:lnTo>
                  <a:lnTo>
                    <a:pt x="274" y="1261"/>
                  </a:lnTo>
                  <a:lnTo>
                    <a:pt x="276" y="1234"/>
                  </a:lnTo>
                  <a:lnTo>
                    <a:pt x="279" y="1207"/>
                  </a:lnTo>
                  <a:lnTo>
                    <a:pt x="283" y="1180"/>
                  </a:lnTo>
                  <a:lnTo>
                    <a:pt x="288" y="1154"/>
                  </a:lnTo>
                  <a:lnTo>
                    <a:pt x="292" y="1128"/>
                  </a:lnTo>
                  <a:lnTo>
                    <a:pt x="298" y="1101"/>
                  </a:lnTo>
                  <a:lnTo>
                    <a:pt x="305" y="1075"/>
                  </a:lnTo>
                  <a:lnTo>
                    <a:pt x="311" y="1049"/>
                  </a:lnTo>
                  <a:lnTo>
                    <a:pt x="319" y="1025"/>
                  </a:lnTo>
                  <a:lnTo>
                    <a:pt x="327" y="999"/>
                  </a:lnTo>
                  <a:lnTo>
                    <a:pt x="336" y="974"/>
                  </a:lnTo>
                  <a:lnTo>
                    <a:pt x="346" y="951"/>
                  </a:lnTo>
                  <a:lnTo>
                    <a:pt x="355" y="926"/>
                  </a:lnTo>
                  <a:lnTo>
                    <a:pt x="377" y="879"/>
                  </a:lnTo>
                  <a:lnTo>
                    <a:pt x="400" y="833"/>
                  </a:lnTo>
                  <a:lnTo>
                    <a:pt x="426" y="788"/>
                  </a:lnTo>
                  <a:lnTo>
                    <a:pt x="454" y="744"/>
                  </a:lnTo>
                  <a:lnTo>
                    <a:pt x="484" y="702"/>
                  </a:lnTo>
                  <a:lnTo>
                    <a:pt x="516" y="661"/>
                  </a:lnTo>
                  <a:lnTo>
                    <a:pt x="550" y="622"/>
                  </a:lnTo>
                  <a:lnTo>
                    <a:pt x="585" y="585"/>
                  </a:lnTo>
                  <a:lnTo>
                    <a:pt x="623" y="549"/>
                  </a:lnTo>
                  <a:lnTo>
                    <a:pt x="661" y="516"/>
                  </a:lnTo>
                  <a:lnTo>
                    <a:pt x="702" y="484"/>
                  </a:lnTo>
                  <a:lnTo>
                    <a:pt x="744" y="454"/>
                  </a:lnTo>
                  <a:lnTo>
                    <a:pt x="788" y="426"/>
                  </a:lnTo>
                  <a:lnTo>
                    <a:pt x="832" y="400"/>
                  </a:lnTo>
                  <a:lnTo>
                    <a:pt x="879" y="377"/>
                  </a:lnTo>
                  <a:lnTo>
                    <a:pt x="926" y="355"/>
                  </a:lnTo>
                  <a:lnTo>
                    <a:pt x="950" y="346"/>
                  </a:lnTo>
                  <a:lnTo>
                    <a:pt x="975" y="336"/>
                  </a:lnTo>
                  <a:lnTo>
                    <a:pt x="999" y="327"/>
                  </a:lnTo>
                  <a:lnTo>
                    <a:pt x="1025" y="319"/>
                  </a:lnTo>
                  <a:lnTo>
                    <a:pt x="1050" y="311"/>
                  </a:lnTo>
                  <a:lnTo>
                    <a:pt x="1076" y="305"/>
                  </a:lnTo>
                  <a:lnTo>
                    <a:pt x="1101" y="298"/>
                  </a:lnTo>
                  <a:lnTo>
                    <a:pt x="1128" y="293"/>
                  </a:lnTo>
                  <a:lnTo>
                    <a:pt x="1154" y="288"/>
                  </a:lnTo>
                  <a:lnTo>
                    <a:pt x="1181" y="283"/>
                  </a:lnTo>
                  <a:lnTo>
                    <a:pt x="1208" y="279"/>
                  </a:lnTo>
                  <a:lnTo>
                    <a:pt x="1235" y="276"/>
                  </a:lnTo>
                  <a:lnTo>
                    <a:pt x="1261" y="274"/>
                  </a:lnTo>
                  <a:lnTo>
                    <a:pt x="1289" y="273"/>
                  </a:lnTo>
                  <a:lnTo>
                    <a:pt x="1316" y="271"/>
                  </a:lnTo>
                  <a:lnTo>
                    <a:pt x="1344" y="270"/>
                  </a:lnTo>
                  <a:lnTo>
                    <a:pt x="1344" y="270"/>
                  </a:lnTo>
                  <a:lnTo>
                    <a:pt x="1372" y="271"/>
                  </a:lnTo>
                  <a:lnTo>
                    <a:pt x="1400" y="273"/>
                  </a:lnTo>
                  <a:lnTo>
                    <a:pt x="1427" y="274"/>
                  </a:lnTo>
                  <a:lnTo>
                    <a:pt x="1453" y="276"/>
                  </a:lnTo>
                  <a:lnTo>
                    <a:pt x="1480" y="279"/>
                  </a:lnTo>
                  <a:lnTo>
                    <a:pt x="1507" y="283"/>
                  </a:lnTo>
                  <a:lnTo>
                    <a:pt x="1534" y="288"/>
                  </a:lnTo>
                  <a:lnTo>
                    <a:pt x="1561" y="293"/>
                  </a:lnTo>
                  <a:lnTo>
                    <a:pt x="1587" y="298"/>
                  </a:lnTo>
                  <a:lnTo>
                    <a:pt x="1612" y="305"/>
                  </a:lnTo>
                  <a:lnTo>
                    <a:pt x="1638" y="311"/>
                  </a:lnTo>
                  <a:lnTo>
                    <a:pt x="1663" y="319"/>
                  </a:lnTo>
                  <a:lnTo>
                    <a:pt x="1689" y="327"/>
                  </a:lnTo>
                  <a:lnTo>
                    <a:pt x="1713" y="336"/>
                  </a:lnTo>
                  <a:lnTo>
                    <a:pt x="1738" y="346"/>
                  </a:lnTo>
                  <a:lnTo>
                    <a:pt x="1762" y="355"/>
                  </a:lnTo>
                  <a:lnTo>
                    <a:pt x="1810" y="377"/>
                  </a:lnTo>
                  <a:lnTo>
                    <a:pt x="1856" y="400"/>
                  </a:lnTo>
                  <a:lnTo>
                    <a:pt x="1901" y="426"/>
                  </a:lnTo>
                  <a:lnTo>
                    <a:pt x="1944" y="454"/>
                  </a:lnTo>
                  <a:lnTo>
                    <a:pt x="1986" y="484"/>
                  </a:lnTo>
                  <a:lnTo>
                    <a:pt x="2027" y="516"/>
                  </a:lnTo>
                  <a:lnTo>
                    <a:pt x="2065" y="549"/>
                  </a:lnTo>
                  <a:lnTo>
                    <a:pt x="2103" y="585"/>
                  </a:lnTo>
                  <a:lnTo>
                    <a:pt x="2138" y="622"/>
                  </a:lnTo>
                  <a:lnTo>
                    <a:pt x="2173" y="661"/>
                  </a:lnTo>
                  <a:lnTo>
                    <a:pt x="2204" y="702"/>
                  </a:lnTo>
                  <a:lnTo>
                    <a:pt x="2234" y="744"/>
                  </a:lnTo>
                  <a:lnTo>
                    <a:pt x="2262" y="788"/>
                  </a:lnTo>
                  <a:lnTo>
                    <a:pt x="2288" y="833"/>
                  </a:lnTo>
                  <a:lnTo>
                    <a:pt x="2311" y="879"/>
                  </a:lnTo>
                  <a:lnTo>
                    <a:pt x="2333" y="926"/>
                  </a:lnTo>
                  <a:lnTo>
                    <a:pt x="2343" y="951"/>
                  </a:lnTo>
                  <a:lnTo>
                    <a:pt x="2352" y="974"/>
                  </a:lnTo>
                  <a:lnTo>
                    <a:pt x="2362" y="999"/>
                  </a:lnTo>
                  <a:lnTo>
                    <a:pt x="2369" y="1025"/>
                  </a:lnTo>
                  <a:lnTo>
                    <a:pt x="2377" y="1049"/>
                  </a:lnTo>
                  <a:lnTo>
                    <a:pt x="2384" y="1075"/>
                  </a:lnTo>
                  <a:lnTo>
                    <a:pt x="2390" y="1101"/>
                  </a:lnTo>
                  <a:lnTo>
                    <a:pt x="2396" y="1128"/>
                  </a:lnTo>
                  <a:lnTo>
                    <a:pt x="2400" y="1154"/>
                  </a:lnTo>
                  <a:lnTo>
                    <a:pt x="2406" y="1180"/>
                  </a:lnTo>
                  <a:lnTo>
                    <a:pt x="2409" y="1207"/>
                  </a:lnTo>
                  <a:lnTo>
                    <a:pt x="2412" y="1234"/>
                  </a:lnTo>
                  <a:lnTo>
                    <a:pt x="2414" y="1261"/>
                  </a:lnTo>
                  <a:lnTo>
                    <a:pt x="2416" y="1289"/>
                  </a:lnTo>
                  <a:lnTo>
                    <a:pt x="2417" y="1316"/>
                  </a:lnTo>
                  <a:lnTo>
                    <a:pt x="2417" y="1344"/>
                  </a:lnTo>
                  <a:lnTo>
                    <a:pt x="2417" y="1344"/>
                  </a:lnTo>
                  <a:lnTo>
                    <a:pt x="2417" y="1371"/>
                  </a:lnTo>
                  <a:lnTo>
                    <a:pt x="2416" y="1399"/>
                  </a:lnTo>
                  <a:lnTo>
                    <a:pt x="2414" y="1426"/>
                  </a:lnTo>
                  <a:lnTo>
                    <a:pt x="2412" y="1453"/>
                  </a:lnTo>
                  <a:lnTo>
                    <a:pt x="2409" y="1481"/>
                  </a:lnTo>
                  <a:lnTo>
                    <a:pt x="2406" y="1507"/>
                  </a:lnTo>
                  <a:lnTo>
                    <a:pt x="2400" y="1533"/>
                  </a:lnTo>
                  <a:lnTo>
                    <a:pt x="2396" y="1560"/>
                  </a:lnTo>
                  <a:lnTo>
                    <a:pt x="2390" y="1586"/>
                  </a:lnTo>
                  <a:lnTo>
                    <a:pt x="2384" y="1612"/>
                  </a:lnTo>
                  <a:lnTo>
                    <a:pt x="2377" y="1638"/>
                  </a:lnTo>
                  <a:lnTo>
                    <a:pt x="2369" y="1663"/>
                  </a:lnTo>
                  <a:lnTo>
                    <a:pt x="2362" y="1688"/>
                  </a:lnTo>
                  <a:lnTo>
                    <a:pt x="2352" y="1713"/>
                  </a:lnTo>
                  <a:lnTo>
                    <a:pt x="2343" y="1737"/>
                  </a:lnTo>
                  <a:lnTo>
                    <a:pt x="2333" y="1761"/>
                  </a:lnTo>
                  <a:lnTo>
                    <a:pt x="2311" y="1809"/>
                  </a:lnTo>
                  <a:lnTo>
                    <a:pt x="2288" y="1855"/>
                  </a:lnTo>
                  <a:lnTo>
                    <a:pt x="2262" y="1900"/>
                  </a:lnTo>
                  <a:lnTo>
                    <a:pt x="2234" y="1943"/>
                  </a:lnTo>
                  <a:lnTo>
                    <a:pt x="2204" y="1985"/>
                  </a:lnTo>
                  <a:lnTo>
                    <a:pt x="2173" y="2026"/>
                  </a:lnTo>
                  <a:lnTo>
                    <a:pt x="2138" y="2066"/>
                  </a:lnTo>
                  <a:lnTo>
                    <a:pt x="2103" y="2102"/>
                  </a:lnTo>
                  <a:lnTo>
                    <a:pt x="2065" y="2138"/>
                  </a:lnTo>
                  <a:lnTo>
                    <a:pt x="2027" y="2172"/>
                  </a:lnTo>
                  <a:lnTo>
                    <a:pt x="1986" y="2203"/>
                  </a:lnTo>
                  <a:lnTo>
                    <a:pt x="1944" y="2233"/>
                  </a:lnTo>
                  <a:lnTo>
                    <a:pt x="1901" y="2261"/>
                  </a:lnTo>
                  <a:lnTo>
                    <a:pt x="1856" y="2287"/>
                  </a:lnTo>
                  <a:lnTo>
                    <a:pt x="1810" y="2311"/>
                  </a:lnTo>
                  <a:lnTo>
                    <a:pt x="1762" y="2333"/>
                  </a:lnTo>
                  <a:lnTo>
                    <a:pt x="1738" y="2343"/>
                  </a:lnTo>
                  <a:lnTo>
                    <a:pt x="1713" y="2351"/>
                  </a:lnTo>
                  <a:lnTo>
                    <a:pt x="1689" y="2361"/>
                  </a:lnTo>
                  <a:lnTo>
                    <a:pt x="1663" y="2368"/>
                  </a:lnTo>
                  <a:lnTo>
                    <a:pt x="1638" y="2376"/>
                  </a:lnTo>
                  <a:lnTo>
                    <a:pt x="1612" y="2383"/>
                  </a:lnTo>
                  <a:lnTo>
                    <a:pt x="1587" y="2390"/>
                  </a:lnTo>
                  <a:lnTo>
                    <a:pt x="1561" y="2395"/>
                  </a:lnTo>
                  <a:lnTo>
                    <a:pt x="1534" y="2400"/>
                  </a:lnTo>
                  <a:lnTo>
                    <a:pt x="1507" y="2405"/>
                  </a:lnTo>
                  <a:lnTo>
                    <a:pt x="1480" y="2408"/>
                  </a:lnTo>
                  <a:lnTo>
                    <a:pt x="1453" y="2411"/>
                  </a:lnTo>
                  <a:lnTo>
                    <a:pt x="1427" y="2413"/>
                  </a:lnTo>
                  <a:lnTo>
                    <a:pt x="1400" y="2416"/>
                  </a:lnTo>
                  <a:lnTo>
                    <a:pt x="1372" y="2417"/>
                  </a:lnTo>
                  <a:lnTo>
                    <a:pt x="1344" y="2417"/>
                  </a:lnTo>
                  <a:lnTo>
                    <a:pt x="1344" y="24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a:extLst>
                <a:ext uri="{FF2B5EF4-FFF2-40B4-BE49-F238E27FC236}">
                  <a16:creationId xmlns:a16="http://schemas.microsoft.com/office/drawing/2014/main" id="{19764BB6-7D1B-4BB5-A3D0-F0015E8DCBF8}"/>
                </a:ext>
              </a:extLst>
            </p:cNvPr>
            <p:cNvSpPr>
              <a:spLocks/>
            </p:cNvSpPr>
            <p:nvPr/>
          </p:nvSpPr>
          <p:spPr bwMode="auto">
            <a:xfrm>
              <a:off x="5065713" y="1663700"/>
              <a:ext cx="1377950" cy="1592263"/>
            </a:xfrm>
            <a:custGeom>
              <a:avLst/>
              <a:gdLst>
                <a:gd name="T0" fmla="*/ 0 w 868"/>
                <a:gd name="T1" fmla="*/ 1003 h 1003"/>
                <a:gd name="T2" fmla="*/ 0 w 868"/>
                <a:gd name="T3" fmla="*/ 0 h 1003"/>
                <a:gd name="T4" fmla="*/ 868 w 868"/>
                <a:gd name="T5" fmla="*/ 502 h 1003"/>
                <a:gd name="T6" fmla="*/ 0 w 868"/>
                <a:gd name="T7" fmla="*/ 1003 h 1003"/>
              </a:gdLst>
              <a:ahLst/>
              <a:cxnLst>
                <a:cxn ang="0">
                  <a:pos x="T0" y="T1"/>
                </a:cxn>
                <a:cxn ang="0">
                  <a:pos x="T2" y="T3"/>
                </a:cxn>
                <a:cxn ang="0">
                  <a:pos x="T4" y="T5"/>
                </a:cxn>
                <a:cxn ang="0">
                  <a:pos x="T6" y="T7"/>
                </a:cxn>
              </a:cxnLst>
              <a:rect l="0" t="0" r="r" b="b"/>
              <a:pathLst>
                <a:path w="868" h="1003">
                  <a:moveTo>
                    <a:pt x="0" y="1003"/>
                  </a:moveTo>
                  <a:lnTo>
                    <a:pt x="0" y="0"/>
                  </a:lnTo>
                  <a:lnTo>
                    <a:pt x="868" y="502"/>
                  </a:lnTo>
                  <a:lnTo>
                    <a:pt x="0" y="10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295822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docProps/app.xml><?xml version="1.0" encoding="utf-8"?>
<Properties xmlns="http://schemas.openxmlformats.org/officeDocument/2006/extended-properties" xmlns:vt="http://schemas.openxmlformats.org/officeDocument/2006/docPropsVTypes">
  <Template>blank</Template>
  <TotalTime>0</TotalTime>
  <Words>134</Words>
  <Application>Microsoft Office PowerPoint</Application>
  <PresentationFormat>Custom</PresentationFormat>
  <Paragraphs>26</Paragraphs>
  <Slides>1</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Impact</vt:lpstr>
      <vt:lpstr>Wingdings</vt:lpstr>
      <vt:lpstr>Copy Slides</vt:lpstr>
      <vt:lpstr>think-cell Slide</vt:lpstr>
      <vt:lpstr>Escape Room: tournament of Champion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3 2021</dc:title>
  <dc:creator/>
  <dc:description>Escape Room: tournament of Champions</dc:description>
  <cp:lastModifiedBy/>
  <cp:revision>1</cp:revision>
  <dcterms:created xsi:type="dcterms:W3CDTF">2019-03-25T11:13:20Z</dcterms:created>
  <dcterms:modified xsi:type="dcterms:W3CDTF">2021-07-07T10:43:50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y fmtid="{D5CDD505-2E9C-101B-9397-08002B2CF9AE}" pid="3" name="Presentation">
    <vt:lpwstr>Q3 2021</vt:lpwstr>
  </property>
  <property fmtid="{D5CDD505-2E9C-101B-9397-08002B2CF9AE}" pid="4" name="SlideDescription">
    <vt:lpwstr>Escape Room: tournament of Champions</vt:lpwstr>
  </property>
</Properties>
</file>